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28"/>
  </p:notesMasterIdLst>
  <p:sldIdLst>
    <p:sldId id="269" r:id="rId8"/>
    <p:sldId id="297" r:id="rId9"/>
    <p:sldId id="266" r:id="rId10"/>
    <p:sldId id="427" r:id="rId11"/>
    <p:sldId id="424" r:id="rId12"/>
    <p:sldId id="435" r:id="rId13"/>
    <p:sldId id="419" r:id="rId14"/>
    <p:sldId id="426" r:id="rId15"/>
    <p:sldId id="428" r:id="rId16"/>
    <p:sldId id="439" r:id="rId17"/>
    <p:sldId id="458" r:id="rId18"/>
    <p:sldId id="430" r:id="rId19"/>
    <p:sldId id="429" r:id="rId20"/>
    <p:sldId id="432" r:id="rId21"/>
    <p:sldId id="436" r:id="rId22"/>
    <p:sldId id="433" r:id="rId23"/>
    <p:sldId id="438" r:id="rId24"/>
    <p:sldId id="437" r:id="rId25"/>
    <p:sldId id="434" r:id="rId26"/>
    <p:sldId id="459" r:id="rId27"/>
  </p:sldIdLst>
  <p:sldSz cx="9144000" cy="6858000" type="screen4x3"/>
  <p:notesSz cx="7104063" cy="10234613"/>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87" autoAdjust="0"/>
    <p:restoredTop sz="54679" autoAdjust="0"/>
  </p:normalViewPr>
  <p:slideViewPr>
    <p:cSldViewPr snapToObjects="1">
      <p:cViewPr varScale="1">
        <p:scale>
          <a:sx n="69" d="100"/>
          <a:sy n="69" d="100"/>
        </p:scale>
        <p:origin x="2406" y="72"/>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50" d="100"/>
        <a:sy n="150" d="100"/>
      </p:scale>
      <p:origin x="0" y="0"/>
    </p:cViewPr>
  </p:sorterViewPr>
  <p:notesViewPr>
    <p:cSldViewPr snapToObjects="1">
      <p:cViewPr varScale="1">
        <p:scale>
          <a:sx n="67" d="100"/>
          <a:sy n="67" d="100"/>
        </p:scale>
        <p:origin x="3067"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22313" y="512763"/>
            <a:ext cx="5626100" cy="42195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743826"/>
            <a:ext cx="5683250" cy="5490788"/>
          </a:xfrm>
        </p:spPr>
        <p:txBody>
          <a:bodyPr/>
          <a:lstStyle/>
          <a:p>
            <a:pPr indent="88644"/>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88644"/>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この講座はスマートフォンを買われてから、まだあまり操作方法をよくご存じではない方を対象として、メールの使い方のご説明をします。</a:t>
            </a:r>
            <a:endParaRPr kumimoji="1" lang="en-US" altLang="ja-JP" dirty="0">
              <a:latin typeface="Meiryo UI" panose="020B0604030504040204" pitchFamily="50" charset="-128"/>
              <a:ea typeface="Meiryo UI" panose="020B0604030504040204" pitchFamily="50" charset="-128"/>
            </a:endParaRPr>
          </a:p>
          <a:p>
            <a:endParaRPr lang="en-US" altLang="ja-JP" dirty="0"/>
          </a:p>
          <a:p>
            <a:r>
              <a:rPr kumimoji="1" lang="ja-JP" altLang="en-US" dirty="0">
                <a:latin typeface="Meiryo UI" panose="020B0604030504040204" pitchFamily="50" charset="-128"/>
                <a:ea typeface="Meiryo UI" panose="020B0604030504040204" pitchFamily="50" charset="-128"/>
              </a:rPr>
              <a:t>　よろしくお願いいた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す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lang="ja-JP" altLang="en-US" dirty="0">
                <a:latin typeface="Meiryo UI" panose="020B0604030504040204" pitchFamily="50" charset="-128"/>
                <a:ea typeface="Meiryo UI" panose="020B0604030504040204" pitchFamily="50" charset="-128"/>
              </a:rPr>
              <a:t>もしついていなければ、それ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の</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はなく</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ホです。</a:t>
            </a:r>
            <a:endParaRPr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今回の講座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を対象としています。</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89407">
              <a:defRPr/>
            </a:pPr>
            <a:r>
              <a:rPr lang="ja-JP" altLang="en-US" sz="1600" dirty="0">
                <a:cs typeface="Microsoft New Tai Lue" panose="020B0502040204020203" pitchFamily="34" charset="0"/>
              </a:rPr>
              <a:t>今回は</a:t>
            </a:r>
            <a:r>
              <a:rPr lang="ja-JP" altLang="en-US" sz="1600" dirty="0"/>
              <a:t>残念ながらあまり参考にならないかもしれないことを予めご承知おき願います。</a:t>
            </a:r>
            <a:endParaRPr kumimoji="1"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743827"/>
            <a:ext cx="5683250" cy="5490787"/>
          </a:xfrm>
        </p:spPr>
        <p:txBody>
          <a:bodyPr/>
          <a:lstStyle/>
          <a:p>
            <a:pPr indent="96146"/>
            <a:r>
              <a:rPr lang="ja-JP" altLang="en-US" dirty="0">
                <a:latin typeface="Meiryo UI" panose="020B0604030504040204" pitchFamily="50" charset="-128"/>
                <a:ea typeface="Meiryo UI" panose="020B0604030504040204" pitchFamily="50" charset="-128"/>
              </a:rPr>
              <a:t>次に、④の箇所に必要に応じて件名を入力してその下⑤に送りたい文章を入力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入力が完了したら画面右上の⑥の青い上矢印のボタンを押すとメールが送信され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メールアドレスと件名と文章が入力できれば、最低限のメールを送ることができます。」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CC</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BCC</a:t>
            </a:r>
            <a:r>
              <a:rPr lang="ja-JP" altLang="en-US" dirty="0">
                <a:latin typeface="Meiryo UI" panose="020B0604030504040204" pitchFamily="50" charset="-128"/>
                <a:ea typeface="Meiryo UI" panose="020B0604030504040204" pitchFamily="50" charset="-128"/>
              </a:rPr>
              <a:t>については少し内容が複雑になりますので、講座の中では説明を割愛して構いません。</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780473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5232457"/>
          </a:xfrm>
        </p:spPr>
        <p:txBody>
          <a:bodyPr/>
          <a:lstStyle/>
          <a:p>
            <a:r>
              <a:rPr lang="ja-JP" altLang="en-US" dirty="0"/>
              <a:t>次にメールが相手に送信ができたかどうか確認する方法をご説明します。</a:t>
            </a:r>
            <a:endParaRPr lang="en-US" altLang="ja-JP" dirty="0"/>
          </a:p>
          <a:p>
            <a:endParaRPr lang="ja-JP" altLang="en-US" dirty="0"/>
          </a:p>
          <a:p>
            <a:r>
              <a:rPr lang="ja-JP" altLang="en-US" dirty="0"/>
              <a:t>メールボックスを開くのですが、もし表示がメールボックスになっていない場合は、①のように左上に「メールボックス」と青く書かれているのでそこをタップするとメールボックスが表示されます。</a:t>
            </a:r>
            <a:endParaRPr lang="en-US" altLang="ja-JP" dirty="0"/>
          </a:p>
          <a:p>
            <a:endParaRPr lang="ja-JP" altLang="en-US" dirty="0"/>
          </a:p>
          <a:p>
            <a:r>
              <a:rPr lang="ja-JP" altLang="en-US" dirty="0"/>
              <a:t>メールボックスの表示になったら②の「送信済み」をタップします。</a:t>
            </a:r>
            <a:endParaRPr lang="en-US" altLang="ja-JP" dirty="0"/>
          </a:p>
          <a:p>
            <a:endParaRPr lang="en-US" altLang="ja-JP" dirty="0"/>
          </a:p>
          <a:p>
            <a:r>
              <a:rPr lang="ja-JP" altLang="en-US" dirty="0"/>
              <a:t>すると送信されたメールが一覧で表示されますのでその中に先ほど送信したメールの内容が表示されていれば先ほどのメールは相手先に送信された事が確認できます。</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送信してしまったメールは取り消すことができないので、送信する前に、内容をよく確認しましょう。」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0FF8906E-6D33-C221-5672-E4EFFC993AA0}"/>
              </a:ext>
            </a:extLst>
          </p:cNvPr>
          <p:cNvSpPr>
            <a:spLocks noGrp="1" noRot="1" noChangeAspect="1"/>
          </p:cNvSpPr>
          <p:nvPr>
            <p:ph type="sldImg"/>
          </p:nvPr>
        </p:nvSpPr>
        <p:spPr/>
      </p:sp>
    </p:spTree>
    <p:extLst>
      <p:ext uri="{BB962C8B-B14F-4D97-AF65-F5344CB8AC3E}">
        <p14:creationId xmlns:p14="http://schemas.microsoft.com/office/powerpoint/2010/main" val="3879755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925409"/>
            <a:ext cx="5683250" cy="4218999"/>
          </a:xfrm>
        </p:spPr>
        <p:txBody>
          <a:bodyPr/>
          <a:lstStyle/>
          <a:p>
            <a:pPr indent="96146"/>
            <a:r>
              <a:rPr lang="ja-JP" altLang="en-US" dirty="0">
                <a:latin typeface="Meiryo UI" panose="020B0604030504040204" pitchFamily="50" charset="-128"/>
                <a:ea typeface="Meiryo UI" panose="020B0604030504040204" pitchFamily="50" charset="-128"/>
              </a:rPr>
              <a:t>前のページのようにメールマークをタップしてメールを作成する以外にも、電話帳からメールを作成する方法も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まず最初にホーム画面から「連絡先」をタップしてください。または①’の「電話」のアイコンをタップし、次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連絡先</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登録してある名前の一覧が表示されますので、メールを送りたい相手の名前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登録データの中に送りたい相手のアドレスが入っていれば、「メール」をタップすると宛先が予め入った状態でメールの作成ができ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アドレスを直接入力しても、電話帳からアドレスを指定しても、どちらでも問題なくメールが届きます。」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ただし、アドレスを直接入力する場合は、入力間違いが起きる可能性もありますので、電話帳を利用した方が手軽で便利です。」と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5949615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743826"/>
            <a:ext cx="5683250" cy="5495313"/>
          </a:xfrm>
        </p:spPr>
        <p:txBody>
          <a:bodyPr/>
          <a:lstStyle/>
          <a:p>
            <a:pPr indent="96146"/>
            <a:r>
              <a:rPr lang="ja-JP" altLang="en-US" dirty="0">
                <a:latin typeface="Meiryo UI" panose="020B0604030504040204" pitchFamily="50" charset="-128"/>
                <a:ea typeface="Meiryo UI" panose="020B0604030504040204" pitchFamily="50" charset="-128"/>
              </a:rPr>
              <a:t>次にメール文を書いているときに文章を間違えた場合の修正の仕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①の画面のように誤って「今日ほ良いお天気ですが」と、「は」を「ほ」と入力したと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初にカーソルのある</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が</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位置を画面から離さずに押すと①のように字が拡大されますので、そのまま修正したい「ほ」の右の位置までスライド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カーソルとは、文字を入力している位置を表す点滅する縦線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文字を打つとカーソルの左側に入力され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に、その位置で②の「削除ボタン」を押してください。このボタンを押すとカーソルの左にある１文字を削除し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誤字だった「ほ」を削除したら、そのまま「は」を入力すれば修正は完了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④完了したら今度は、カーソルをこれから文字を入力する箇所まで移動して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削除する位置が右か左か非常に混同しやすいので、「点滅する縦線の左側が消える」と覚え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1129070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次にメールに画像を付けて送ってみ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先ほどのＰ</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のメールの作成画面において、画像を入れたい場所を①のように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カーソルが画像を入れたい場所に移動したことを確認したら、「あ」の左上に写真マークがあるので写真マーク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下部に過去に撮った画像の一覧が表示されますので、添付したい画像をタップ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407775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⑤選択した写真がメール文の中に挿入されますので</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すべての写真」の上にある✕ボタンをタップすると、文字を打つキーボード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メールの編集が終わり、送信してよければ先ほどと同様⑥の青色の上向き矢印の「送信」ボタン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像の大きさによっては画像のサイズを選ぶ画面になること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サイズを小さくすると、メールの容量が小さくなりますが画質が粗く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あまり大きなサイズを選ぶと送信時間が多くかかってしまいますので中程度をお勧め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送りたいサイズを押すとメールが送信され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403052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次は相手から来たメールの見方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ホーム画面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メ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アイコン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表示される「メールボックス</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で②</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受信</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受信したメールの一覧が出ますので、確認したいメールをタップすれば本文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　まだ読んでいないメールは、名前の左側に青い丸いマークがついてい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1103306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99703" y="4765707"/>
            <a:ext cx="6242669" cy="5088441"/>
          </a:xfrm>
        </p:spPr>
        <p:txBody>
          <a:bodyPr/>
          <a:lstStyle/>
          <a:p>
            <a:r>
              <a:rPr lang="ja-JP" altLang="en-US" dirty="0"/>
              <a:t>次は送られたメールに返信する方法です。</a:t>
            </a:r>
            <a:endParaRPr lang="en-US" altLang="ja-JP" dirty="0"/>
          </a:p>
          <a:p>
            <a:endParaRPr lang="ja-JP" altLang="en-US" dirty="0"/>
          </a:p>
          <a:p>
            <a:r>
              <a:rPr lang="ja-JP" altLang="en-US" dirty="0"/>
              <a:t>前のページ③のように返信したいメールをタップすると④のようにメールの本文が表示されます。</a:t>
            </a:r>
            <a:endParaRPr lang="en-US" altLang="ja-JP" dirty="0"/>
          </a:p>
          <a:p>
            <a:endParaRPr lang="ja-JP" altLang="en-US" dirty="0"/>
          </a:p>
          <a:p>
            <a:r>
              <a:rPr lang="ja-JP" altLang="en-US" dirty="0"/>
              <a:t>⑤の画面右下の左向きの矢印マークをタップします。</a:t>
            </a:r>
            <a:endParaRPr lang="en-US" altLang="ja-JP" dirty="0"/>
          </a:p>
          <a:p>
            <a:endParaRPr lang="ja-JP" altLang="en-US" dirty="0"/>
          </a:p>
          <a:p>
            <a:r>
              <a:rPr lang="ja-JP" altLang="en-US" dirty="0"/>
              <a:t>⑥のように表示された画面から</a:t>
            </a:r>
            <a:r>
              <a:rPr lang="en-US" altLang="ja-JP" dirty="0"/>
              <a:t>｢</a:t>
            </a:r>
            <a:r>
              <a:rPr lang="ja-JP" altLang="en-US" dirty="0"/>
              <a:t>返信</a:t>
            </a:r>
            <a:r>
              <a:rPr lang="en-US" altLang="ja-JP" dirty="0"/>
              <a:t>｣</a:t>
            </a:r>
            <a:r>
              <a:rPr lang="ja-JP" altLang="en-US" dirty="0"/>
              <a:t>をタップします。</a:t>
            </a:r>
            <a:endParaRPr lang="en-US" altLang="ja-JP" dirty="0"/>
          </a:p>
          <a:p>
            <a:endParaRPr lang="ja-JP" altLang="en-US" dirty="0"/>
          </a:p>
          <a:p>
            <a:r>
              <a:rPr lang="ja-JP" altLang="en-US" dirty="0"/>
              <a:t>⑦相手に返信する画面となりますので返信するメール文を作成しましょう。</a:t>
            </a:r>
          </a:p>
          <a:p>
            <a:endParaRPr lang="en-US" altLang="ja-JP" dirty="0"/>
          </a:p>
          <a:p>
            <a:endParaRPr lang="ja-JP" altLang="en-US" dirty="0"/>
          </a:p>
          <a:p>
            <a:r>
              <a:rPr lang="en-US" altLang="ja-JP" dirty="0"/>
              <a:t>【</a:t>
            </a:r>
            <a:r>
              <a:rPr lang="ja-JP" altLang="en-US" dirty="0"/>
              <a:t>講師向けコメント</a:t>
            </a:r>
            <a:r>
              <a:rPr lang="en-US" altLang="ja-JP" dirty="0"/>
              <a:t>】</a:t>
            </a:r>
          </a:p>
          <a:p>
            <a:endParaRPr lang="en-US" altLang="ja-JP" dirty="0"/>
          </a:p>
          <a:p>
            <a:r>
              <a:rPr lang="ja-JP" altLang="en-US" dirty="0"/>
              <a:t>講師の皆様は、「返信画面が表示された後の手順は、メールを送信する際と変わりません」とお伝えください。</a:t>
            </a:r>
            <a:endParaRPr lang="en-US" altLang="ja-JP" dirty="0"/>
          </a:p>
          <a:p>
            <a:endParaRPr lang="ja-JP" altLang="en-US" dirty="0"/>
          </a:p>
          <a:p>
            <a:r>
              <a:rPr lang="ja-JP" altLang="en-US" dirty="0"/>
              <a:t>また「転送」について質問を受けた場合、「受信したメールの内容をそのままコピーして、別の人に送信することができる機能です。」と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8FE16447-6FD7-8AE0-EEF0-15D9958D2C28}"/>
              </a:ext>
            </a:extLst>
          </p:cNvPr>
          <p:cNvSpPr>
            <a:spLocks noGrp="1" noRot="1" noChangeAspect="1"/>
          </p:cNvSpPr>
          <p:nvPr>
            <p:ph type="sldImg"/>
          </p:nvPr>
        </p:nvSpPr>
        <p:spPr/>
      </p:sp>
    </p:spTree>
    <p:extLst>
      <p:ext uri="{BB962C8B-B14F-4D97-AF65-F5344CB8AC3E}">
        <p14:creationId xmlns:p14="http://schemas.microsoft.com/office/powerpoint/2010/main" val="19371620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次は受信メールについている画像をアルバムに保存する方法をご説明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相手から来たメールの画像を押し続け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表示された画面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画像を保存</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うしますと、③のように画像が「アルバム</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中に保存され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042704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743826"/>
            <a:ext cx="5683250" cy="4406554"/>
          </a:xfrm>
        </p:spPr>
        <p:txBody>
          <a:bodyPr/>
          <a:lstStyle/>
          <a:p>
            <a:pPr indent="96146"/>
            <a:r>
              <a:rPr lang="ja-JP" altLang="en-US" dirty="0">
                <a:latin typeface="Meiryo UI" panose="020B0604030504040204" pitchFamily="50" charset="-128"/>
                <a:ea typeface="Meiryo UI" panose="020B0604030504040204" pitchFamily="50" charset="-128"/>
              </a:rPr>
              <a:t>最近、銀行や宅配業者、ネット通販事業者等を名乗り、「アカウントが停止されました」「未納料金が発生しています」といったメールが入る場合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時慌ててその指定された</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アドレスをタップすると、一見本物の銀行や宅配業者、ネット通販事業者等のホームページに見える画面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指定された「アカウントの確認」等の画面で、本物のアカウントやパスワードを入力すると悪用されてしまい、詐欺事件や犯罪に巻き込まれてしま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は詐欺の一種ですのでくれぐれもご用心願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本当の銀行等からこのようなお問い合わせがメールで来ることはあり得なく、もしこのような身に覚えのない通知メールが来た場合は、メール文中のＵＲＬは決して開かず、</a:t>
            </a:r>
          </a:p>
          <a:p>
            <a:pPr indent="96146"/>
            <a:r>
              <a:rPr lang="ja-JP" altLang="en-US" dirty="0">
                <a:latin typeface="Meiryo UI" panose="020B0604030504040204" pitchFamily="50" charset="-128"/>
                <a:ea typeface="Meiryo UI" panose="020B0604030504040204" pitchFamily="50" charset="-128"/>
              </a:rPr>
              <a:t>怪しいと感じたら、メールは削除することをおすすめし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次のページに一例を掲載しますので、ご参考にして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不審なメールは詐欺の可能性があります。」とお伝え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特に、個人のメールアドレス宛にメッセージが届くと、自分に関係のある内容ではないかと不安になることもありますが、焦らずに冷静に対処するとともに、心配であれば周りに相談するようにしましょう。」と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940224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a:t>
            </a:r>
            <a:r>
              <a:rPr lang="ja-JP" altLang="en-US" dirty="0">
                <a:latin typeface="Meiryo UI" panose="020B0604030504040204" pitchFamily="50" charset="-128"/>
                <a:ea typeface="Meiryo UI" panose="020B0604030504040204" pitchFamily="50" charset="-128"/>
              </a:rPr>
              <a:t>メールの使い方について学びま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文字の入力の仕方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メールの使い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743826"/>
            <a:ext cx="5683250" cy="4406554"/>
          </a:xfrm>
        </p:spPr>
        <p:txBody>
          <a:bodyPr/>
          <a:lstStyle/>
          <a:p>
            <a:pPr indent="96146"/>
            <a:r>
              <a:rPr lang="ja-JP" altLang="en-US" dirty="0">
                <a:latin typeface="Meiryo UI" panose="020B0604030504040204" pitchFamily="50" charset="-128"/>
                <a:ea typeface="Meiryo UI" panose="020B0604030504040204" pitchFamily="50" charset="-128"/>
              </a:rPr>
              <a:t>迷惑メールを見分けるポイントを一例ですがご紹介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メール文面に簡体字等の特殊文字が入っている。</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改行や言葉遣いが不自然なものは要注意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文面にあるリンクは押さないこと。</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青文字で強調されていることも多い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以上のようなポイントに注意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でメールの使い方についての講座を終わ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256435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p:txBody>
          <a:bodyPr/>
          <a:lstStyle/>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メールの使い方をご説明する前に、メールを書くための文字入力の仕方を先に説明するとお伝えください。</a:t>
            </a:r>
            <a:endParaRPr kumimoji="1"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925410"/>
            <a:ext cx="5683250" cy="5309205"/>
          </a:xfrm>
        </p:spPr>
        <p:txBody>
          <a:bodyPr/>
          <a:lstStyle/>
          <a:p>
            <a:r>
              <a:rPr lang="ja-JP" altLang="en-US" dirty="0">
                <a:latin typeface="Meiryo UI" panose="020B0604030504040204" pitchFamily="50" charset="-128"/>
                <a:ea typeface="Meiryo UI" panose="020B0604030504040204" pitchFamily="50" charset="-128"/>
              </a:rPr>
              <a:t>スマートフォンに文字を入力するための方法としては大きく分けて３つの方法があ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の従来の二つ折り携帯電話で使用されてきたトグル入力という入力方法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多くの方が実際に操作されたことがあると思います。あ行からわ行まで１２キーを押して入力するもので、画面の例にありますように、例えば「ふ」の文字を入れたいときは、「は」の行を３回連続して押すと「は」→「ひ」→「ふ」と段が変わっていき入力することができます。ひらがなで入力してから漢字に変換でき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次にご紹介するのは、 Ⓑの「フリック入力」と呼ばれる方式で、従来の二つ折り携帯電話にはなかったスマートフォンならではの操作方法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画面の例では「い」を入力したい時は、 Ⓑのように「あ」を長押しすると、「あ」の文字の上下左右にあ行の別の段が表示されますので、指先を左側にスライドさせて、表示が「い」になりましたら指先を離せば「い」が入力されます。「あ」のままで良ければ、軽くタッチするだけに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の音声入力については、入れたい言葉をスマートフォンに話しかければ文字に変換して入力してくれます。最近の音声認識のソフトは非常に精度が向上しており、短い単語や文章の入力には非常に便利で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文字入力は、インターネットでの調べ物や</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等を利用する際にも必要になるので、ぜひとも覚えてほしいです。」とお伝えください。</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あいさつなどの前向きな単語を例題として、実際に入力してもらっても良いでしょう。また、フリック入力は、慣れるまでに時間がかかり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難しいと感じる受講者の方には、無理せずケータイ入力（トグル入力）をしても同じことができるとお伝え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916621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925408"/>
            <a:ext cx="5683250" cy="5047137"/>
          </a:xfrm>
        </p:spPr>
        <p:txBody>
          <a:bodyPr/>
          <a:lstStyle/>
          <a:p>
            <a:r>
              <a:rPr lang="ja-JP" altLang="en-US" dirty="0">
                <a:latin typeface="Meiryo UI" panose="020B0604030504040204" pitchFamily="50" charset="-128"/>
                <a:ea typeface="Meiryo UI" panose="020B0604030504040204" pitchFamily="50" charset="-128"/>
              </a:rPr>
              <a:t>次に、文字を入力する時の漢字や英数字を入れるためのキーボード配列の変更の仕方をご説明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キーボードは</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日本語かな</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日本語ローマ字</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English(Japanese)｣</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絵文字</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など複数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キーボード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設定によってはない場合もあ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ずは一番標準的な</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日本語かなキーボー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について説明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マートフォンの配列として一番標準な日本語入力ができる①の「１２キー配列」が表示され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の状態で赤い点線で囲ってある「</a:t>
            </a:r>
            <a:r>
              <a:rPr lang="en-US" altLang="ja-JP" dirty="0">
                <a:latin typeface="Meiryo UI" panose="020B0604030504040204" pitchFamily="50" charset="-128"/>
                <a:ea typeface="Meiryo UI" panose="020B0604030504040204" pitchFamily="50" charset="-128"/>
              </a:rPr>
              <a:t>ABC</a:t>
            </a:r>
            <a:r>
              <a:rPr lang="ja-JP" altLang="en-US" dirty="0">
                <a:latin typeface="Meiryo UI" panose="020B0604030504040204" pitchFamily="50" charset="-128"/>
                <a:ea typeface="Meiryo UI" panose="020B0604030504040204" pitchFamily="50" charset="-128"/>
              </a:rPr>
              <a:t>」を押すと、②の「英語配列」となり英語の入力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配列にある同じく赤い点線で囲ってある「</a:t>
            </a:r>
            <a:r>
              <a:rPr lang="en-US" altLang="ja-JP" dirty="0">
                <a:latin typeface="Meiryo UI" panose="020B0604030504040204" pitchFamily="50" charset="-128"/>
                <a:ea typeface="Meiryo UI" panose="020B0604030504040204" pitchFamily="50" charset="-128"/>
              </a:rPr>
              <a:t>123</a:t>
            </a:r>
            <a:r>
              <a:rPr lang="ja-JP" altLang="en-US" dirty="0">
                <a:latin typeface="Meiryo UI" panose="020B0604030504040204" pitchFamily="50" charset="-128"/>
                <a:ea typeface="Meiryo UI" panose="020B0604030504040204" pitchFamily="50" charset="-128"/>
              </a:rPr>
              <a:t>」をタップすると、今度は③の数字キーとなり、数字の入力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同じ場所にある</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あいう</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すると、元の①「１２キー配列」に戻り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の地球の形をした</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言語アイコ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すると、キーボードが「日本語ローマ字</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等別のものに切り替わります。</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ゃ</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ような小文字を入力するときは、⑤のように「ま」の下に「小」のアイコンがあるので、それをタップすると、入力した文字が</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ゃ</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小文字になり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具体的には、「やゆよ」、「つ」の他に「あいうえお」などがあり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英文字の大文字を入力する時は、⑥のように小文字を入れた後、「</a:t>
            </a:r>
            <a:r>
              <a:rPr lang="en-US" altLang="ja-JP" dirty="0">
                <a:latin typeface="Meiryo UI" panose="020B0604030504040204" pitchFamily="50" charset="-128"/>
                <a:ea typeface="Meiryo UI" panose="020B0604030504040204" pitchFamily="50" charset="-128"/>
              </a:rPr>
              <a:t>PQRS</a:t>
            </a:r>
            <a:r>
              <a:rPr lang="ja-JP" altLang="en-US" dirty="0">
                <a:latin typeface="Meiryo UI" panose="020B0604030504040204" pitchFamily="50" charset="-128"/>
                <a:ea typeface="Meiryo UI" panose="020B0604030504040204" pitchFamily="50" charset="-128"/>
              </a:rPr>
              <a:t>」の下にある「</a:t>
            </a:r>
            <a:r>
              <a:rPr lang="en-US" altLang="ja-JP" dirty="0">
                <a:latin typeface="Meiryo UI" panose="020B0604030504040204" pitchFamily="50" charset="-128"/>
                <a:ea typeface="Meiryo UI" panose="020B0604030504040204" pitchFamily="50" charset="-128"/>
              </a:rPr>
              <a:t>a/A</a:t>
            </a:r>
            <a:r>
              <a:rPr lang="ja-JP" altLang="en-US" dirty="0">
                <a:latin typeface="Meiryo UI" panose="020B0604030504040204" pitchFamily="50" charset="-128"/>
                <a:ea typeface="Meiryo UI" panose="020B0604030504040204" pitchFamily="50" charset="-128"/>
              </a:rPr>
              <a:t>」をタップすれば大文字になり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メールアドレスを入力する際などに、英字入力も必要になるとお伝え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70430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地球儀マークのボタンを押すと、ローマ字入力や絵文字に切り替えることもできますので、関心のある方は試してみてください。</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キーボードの切り替えを使わない受講者が多ければ、ここでは、紹介のみにとどめて、「日本語かな」のキーボードを主に使うことにしてもかまいません。</a:t>
            </a:r>
            <a:endParaRPr kumimoji="1"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685958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a:p>
            <a:pPr indent="9282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743827"/>
            <a:ext cx="5683250" cy="5495314"/>
          </a:xfrm>
        </p:spPr>
        <p:txBody>
          <a:bodyPr/>
          <a:lstStyle/>
          <a:p>
            <a:pPr indent="96146"/>
            <a:r>
              <a:rPr lang="ja-JP" altLang="en-US" dirty="0">
                <a:latin typeface="Meiryo UI" panose="020B0604030504040204" pitchFamily="50" charset="-128"/>
                <a:ea typeface="Meiryo UI" panose="020B0604030504040204" pitchFamily="50" charset="-128"/>
              </a:rPr>
              <a:t>メールには、インターネットを供給している会社や、携帯会社が運営している</a:t>
            </a:r>
            <a:r>
              <a:rPr lang="en-US" altLang="ja-JP" dirty="0">
                <a:latin typeface="Meiryo UI" panose="020B0604030504040204" pitchFamily="50" charset="-128"/>
                <a:ea typeface="Meiryo UI" panose="020B0604030504040204" pitchFamily="50" charset="-128"/>
              </a:rPr>
              <a:t>E</a:t>
            </a:r>
            <a:r>
              <a:rPr lang="ja-JP" altLang="en-US" dirty="0">
                <a:latin typeface="Meiryo UI" panose="020B0604030504040204" pitchFamily="50" charset="-128"/>
                <a:ea typeface="Meiryo UI" panose="020B0604030504040204" pitchFamily="50" charset="-128"/>
              </a:rPr>
              <a:t>メールサービス（キャリアメール）と</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ジーメール）をはじめとしたブラウザで利用できる</a:t>
            </a:r>
            <a:r>
              <a:rPr lang="en-US" altLang="ja-JP" dirty="0">
                <a:latin typeface="Meiryo UI" panose="020B0604030504040204" pitchFamily="50" charset="-128"/>
                <a:ea typeface="Meiryo UI" panose="020B0604030504040204" pitchFamily="50" charset="-128"/>
              </a:rPr>
              <a:t>E</a:t>
            </a:r>
            <a:r>
              <a:rPr lang="ja-JP" altLang="en-US" dirty="0">
                <a:latin typeface="Meiryo UI" panose="020B0604030504040204" pitchFamily="50" charset="-128"/>
                <a:ea typeface="Meiryo UI" panose="020B0604030504040204" pitchFamily="50" charset="-128"/>
              </a:rPr>
              <a:t>メールサービス（</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メール）等様々なもの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回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をご紹介させていただきます。</a:t>
            </a: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はすべてこの</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が使用できま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を使用するには「</a:t>
            </a:r>
            <a:r>
              <a:rPr lang="en-US" altLang="ja-JP" dirty="0">
                <a:latin typeface="Meiryo UI" panose="020B0604030504040204" pitchFamily="50" charset="-128"/>
                <a:ea typeface="Meiryo UI" panose="020B0604030504040204" pitchFamily="50" charset="-128"/>
              </a:rPr>
              <a:t>Apple ID</a:t>
            </a:r>
            <a:r>
              <a:rPr lang="ja-JP" altLang="en-US" dirty="0">
                <a:latin typeface="Meiryo UI" panose="020B0604030504040204" pitchFamily="50" charset="-128"/>
                <a:ea typeface="Meiryo UI" panose="020B0604030504040204" pitchFamily="50" charset="-128"/>
              </a:rPr>
              <a:t>」が必要となります。</a:t>
            </a: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pple ID</a:t>
            </a:r>
            <a:r>
              <a:rPr lang="ja-JP" altLang="en-US" dirty="0">
                <a:latin typeface="Meiryo UI" panose="020B0604030504040204" pitchFamily="50" charset="-128"/>
                <a:ea typeface="Meiryo UI" panose="020B0604030504040204" pitchFamily="50" charset="-128"/>
              </a:rPr>
              <a:t>（アップルアイディー）とは、</a:t>
            </a:r>
            <a:r>
              <a:rPr lang="en-US" altLang="ja-JP" dirty="0">
                <a:latin typeface="Meiryo UI" panose="020B0604030504040204" pitchFamily="50" charset="-128"/>
                <a:ea typeface="Meiryo UI" panose="020B0604030504040204" pitchFamily="50" charset="-128"/>
              </a:rPr>
              <a:t>Apple</a:t>
            </a:r>
            <a:r>
              <a:rPr lang="ja-JP" altLang="en-US" dirty="0">
                <a:latin typeface="Meiryo UI" panose="020B0604030504040204" pitchFamily="50" charset="-128"/>
                <a:ea typeface="Meiryo UI" panose="020B0604030504040204" pitchFamily="50" charset="-128"/>
              </a:rPr>
              <a:t>が提供する全てのサービスに共通で利用できるアカウント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アカウントとは、各サービスを利用するための個人に発行される識別情報のことを指します。日本語で例えると、「会員登録」のようなものです。</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最近各携帯電話会社で発表されている格安プランと言われるものにはキャリアメールが入っていませんので、​</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今後「</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のようなメールは携帯電話会社に左右されにくいため、大変役立つかと思い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スマートフォンに入っているメールソフトは多様なため、全てを一つ一つ取り扱うことはせず、「</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を例に説明するということを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2142926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3900" y="514350"/>
            <a:ext cx="5622925" cy="4217988"/>
          </a:xfrm>
        </p:spPr>
      </p:sp>
      <p:sp>
        <p:nvSpPr>
          <p:cNvPr id="3" name="ノート プレースホルダー 2"/>
          <p:cNvSpPr>
            <a:spLocks noGrp="1"/>
          </p:cNvSpPr>
          <p:nvPr>
            <p:ph type="body" idx="1"/>
          </p:nvPr>
        </p:nvSpPr>
        <p:spPr>
          <a:xfrm>
            <a:off x="710407" y="4743827"/>
            <a:ext cx="5683250" cy="5490787"/>
          </a:xfrm>
        </p:spPr>
        <p:txBody>
          <a:bodyPr/>
          <a:lstStyle/>
          <a:p>
            <a:pPr indent="96146"/>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iCloud</a:t>
            </a:r>
            <a:r>
              <a:rPr lang="ja-JP" altLang="en-US" dirty="0">
                <a:latin typeface="Meiryo UI" panose="020B0604030504040204" pitchFamily="50" charset="-128"/>
                <a:ea typeface="Meiryo UI" panose="020B0604030504040204" pitchFamily="50" charset="-128"/>
              </a:rPr>
              <a:t>メ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使い方をご説明いた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ずはメールの送り方をご説明いた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①最初にホーム画面か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メ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マークをタップ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メールの画面が出ましたら、画面右下にある②の四角にペンマークの「新規作成」ボタンをタッ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メールの作成画面が出ますので、③の「宛先」というところにメールの送り先のアドレスを入れ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右側に表示されている＋マークをタップすると電話帳が起動するのであらかじめ登録している人にはメールアドレスを入力することなく宛先を入れることができます。</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512482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guide id="33"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4136AB0-82E6-476B-9CA3-E83DFA61151D}"/>
              </a:ext>
            </a:extLst>
          </p:cNvPr>
          <p:cNvGraphicFramePr>
            <a:graphicFrameLocks noChangeAspect="1"/>
          </p:cNvGraphicFramePr>
          <p:nvPr userDrawn="1">
            <p:custDataLst>
              <p:tags r:id="rId13"/>
            </p:custDataLst>
            <p:extLst>
              <p:ext uri="{D42A27DB-BD31-4B8C-83A1-F6EECF244321}">
                <p14:modId xmlns:p14="http://schemas.microsoft.com/office/powerpoint/2010/main" val="1857748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DE4F997-8F3E-49A7-BB2C-2DD051A8AC66}"/>
              </a:ext>
            </a:extLst>
          </p:cNvPr>
          <p:cNvGraphicFramePr>
            <a:graphicFrameLocks noChangeAspect="1"/>
          </p:cNvGraphicFramePr>
          <p:nvPr userDrawn="1">
            <p:custDataLst>
              <p:tags r:id="rId13"/>
            </p:custDataLst>
            <p:extLst>
              <p:ext uri="{D42A27DB-BD31-4B8C-83A1-F6EECF244321}">
                <p14:modId xmlns:p14="http://schemas.microsoft.com/office/powerpoint/2010/main" val="1084335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B513928-2E9A-47C2-9C7B-02201C61F133}"/>
              </a:ext>
            </a:extLst>
          </p:cNvPr>
          <p:cNvGraphicFramePr>
            <a:graphicFrameLocks noChangeAspect="1"/>
          </p:cNvGraphicFramePr>
          <p:nvPr userDrawn="1">
            <p:custDataLst>
              <p:tags r:id="rId13"/>
            </p:custDataLst>
            <p:extLst>
              <p:ext uri="{D42A27DB-BD31-4B8C-83A1-F6EECF244321}">
                <p14:modId xmlns:p14="http://schemas.microsoft.com/office/powerpoint/2010/main" val="2310411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30F4D301-C007-9A21-0067-E7352BDD863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E2321F9F-9C65-7958-300F-FF20B22BA60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725442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E515E728-0698-80CC-2D98-824535D9467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28147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49595EFD-6414-881B-8864-84A06D9C11F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062019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41258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B30F2328-7055-E256-6620-89FAC2CD12D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56297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8DBB335E-605A-DDFA-4C69-AFA6339DBAD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80370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369027B1-87AD-4BBE-9AC4-6BF2AED4EE8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062726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6A9C7E72-5BD6-5AF2-B1D1-E2510A4B7E5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027599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3798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D2A91109-85BE-243F-BE9A-774E1484327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627461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EE345656-693B-0E34-425B-18B2BC8558C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5898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F99F8EE-0E47-CB37-EED4-F6FECE25B85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996727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3D1264F-D290-CE29-FA7A-01E4AD45896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EB529D3-63BE-0013-8139-CF2AA3937AB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28542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591C02D-26C2-AB3A-5BC8-B19D2355492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CF105447-4AFD-B569-9BD0-27EA917BE5D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84790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31184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88CBBB1E-C820-3E2D-7B30-0614258F55A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5371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3150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AA327136-BBA7-EA21-63FC-5D386C71B8E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054292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8087DF4-713A-94E3-EECC-27CF499CACC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587C7DFA-92FB-ABBB-9B89-5F9B0B25732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293289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9E1C3F07-9E0E-93EE-B7EC-F61D3F31D7D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024923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947</Words>
  <Application>Microsoft Office PowerPoint</Application>
  <PresentationFormat>画面に合わせる (4:3)</PresentationFormat>
  <Paragraphs>265</Paragraphs>
  <Slides>20</Slides>
  <Notes>20</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20</vt:i4>
      </vt:variant>
    </vt:vector>
  </HeadingPairs>
  <TitlesOfParts>
    <vt:vector size="32"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4:2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